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1"/>
  </p:notesMasterIdLst>
  <p:sldIdLst>
    <p:sldId id="256" r:id="rId3"/>
    <p:sldId id="260" r:id="rId4"/>
    <p:sldId id="261" r:id="rId5"/>
    <p:sldId id="264" r:id="rId6"/>
    <p:sldId id="265" r:id="rId7"/>
    <p:sldId id="268" r:id="rId8"/>
    <p:sldId id="266" r:id="rId9"/>
    <p:sldId id="267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E4D7BF-B363-4F32-A692-6BE5C3FC09C7}" type="datetimeFigureOut">
              <a:rPr lang="en-IN" smtClean="0"/>
              <a:t>02-03-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61095E-E9BE-4B4B-9A74-0B6245536949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7017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SYNONYMS</a:t>
            </a:r>
          </a:p>
          <a:p>
            <a:r>
              <a:rPr lang="en-IN" dirty="0" err="1"/>
              <a:t>siddhanta</a:t>
            </a:r>
            <a:r>
              <a:rPr lang="en-IN" dirty="0"/>
              <a:t> -- conclusion; </a:t>
            </a:r>
            <a:r>
              <a:rPr lang="en-IN" dirty="0" err="1"/>
              <a:t>baliya</a:t>
            </a:r>
            <a:r>
              <a:rPr lang="en-IN" dirty="0"/>
              <a:t> -- considering; </a:t>
            </a:r>
            <a:r>
              <a:rPr lang="en-IN" dirty="0" err="1"/>
              <a:t>citte</a:t>
            </a:r>
            <a:r>
              <a:rPr lang="en-IN" dirty="0"/>
              <a:t> -- in the mind; </a:t>
            </a:r>
            <a:r>
              <a:rPr lang="en-IN" dirty="0" err="1"/>
              <a:t>na</a:t>
            </a:r>
            <a:r>
              <a:rPr lang="en-IN" dirty="0"/>
              <a:t> kara -- do not be; </a:t>
            </a:r>
            <a:r>
              <a:rPr lang="en-IN" dirty="0" err="1"/>
              <a:t>alasa</a:t>
            </a:r>
            <a:r>
              <a:rPr lang="en-IN" dirty="0"/>
              <a:t> -- lazy; </a:t>
            </a:r>
            <a:r>
              <a:rPr lang="en-IN" dirty="0" err="1"/>
              <a:t>iha</a:t>
            </a:r>
            <a:r>
              <a:rPr lang="en-IN" dirty="0"/>
              <a:t> -- this; ha-</a:t>
            </a:r>
            <a:r>
              <a:rPr lang="en-IN" dirty="0" err="1"/>
              <a:t>ite</a:t>
            </a:r>
            <a:r>
              <a:rPr lang="en-IN" dirty="0"/>
              <a:t> -- from; </a:t>
            </a:r>
            <a:r>
              <a:rPr lang="en-IN" dirty="0" err="1"/>
              <a:t>krsne</a:t>
            </a:r>
            <a:r>
              <a:rPr lang="en-IN" dirty="0"/>
              <a:t> -- in Lord Krsna; </a:t>
            </a:r>
            <a:r>
              <a:rPr lang="en-IN" dirty="0" err="1"/>
              <a:t>lage</a:t>
            </a:r>
            <a:r>
              <a:rPr lang="en-IN" dirty="0"/>
              <a:t> -- becomes fixed; </a:t>
            </a:r>
            <a:r>
              <a:rPr lang="en-IN" dirty="0" err="1"/>
              <a:t>su-drdha</a:t>
            </a:r>
            <a:r>
              <a:rPr lang="en-IN" dirty="0"/>
              <a:t> -- very firm; </a:t>
            </a:r>
            <a:r>
              <a:rPr lang="en-IN" dirty="0" err="1"/>
              <a:t>manasa</a:t>
            </a:r>
            <a:r>
              <a:rPr lang="en-IN" dirty="0"/>
              <a:t> -- the mind.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32023D-526C-4670-90E0-71A557D350EB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9076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929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604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1857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64034-BF32-E1FD-CCBE-AFF6619326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06B419-DF6B-528B-C416-1856E085C6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EB6F5D-476A-ACEF-F60D-108AC1839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F207D3-E717-1E57-D9BC-DD28BA70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199AB-C345-4D04-4BBD-252B085F3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2097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27C44-EB77-231F-B1C0-F3D435AA3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9CA62D-330D-31E1-B296-A65C754273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9CD602-D4D0-4531-5088-B0447D14B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692C8-EB73-B7D3-A50C-5B3C0063B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C3717-A0AF-CE5C-2448-19417EABD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71694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2F246-C9D0-CB98-3371-C97077CB9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31EBA6-FC89-848F-7F04-25D611B036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D64B69-2C3D-3A51-E66E-AF24C11D33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829E49-7040-B8D7-928B-0EE6771CC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671E4-0F03-5D14-D9D2-E6B2DFBC0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7176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714B6-0844-24D2-9A7F-D3DDE072F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B142DB-F472-BCA4-50C4-514553BB82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8C6D97-993F-CF6F-73B8-510A342000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FC9C7A-4945-D079-7CCA-06E734A27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2DAFA4-5CBB-15D6-6959-B2D8C90C1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C5B61-AB6C-7063-E856-FB7E49EAE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015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402ED-18F0-0EED-2EAA-7DB1A58133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633659-269E-FA2B-7190-90E362F4CC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30AC4E-920C-6F84-D0CA-2CA4656104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581527-9700-611F-DAEB-512C61EF67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9863B9-012F-C76E-52FC-1F70252C03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7078FC-940C-689B-3A85-04826B8077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CCB350-454F-0EEC-2940-EBB6EC1B5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419FB1-8F55-730E-86A1-931B6EAE0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4433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6F3AFD-0B2F-C839-5873-1D98B1B5E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D870EB-AA4F-D028-9DCD-BA51CEC9B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C851F4-03CE-1473-E8A3-9268CAC79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B63496-C24F-CBF3-9163-6FBCE9B7F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2767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4293F7-D9D0-494A-08E5-5C6653F67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EB06B4-80C4-5701-EFE3-3E11CA7F7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5A2CFF-46F3-88A0-ECB4-1D4F04914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7549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758A7-1A8E-976E-ABCF-EEEC06981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697954-C3C7-0B8D-767E-CEC2292E78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E883F2-698D-8C2F-7B85-587C0588AD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D35BCE-34FA-A70B-74AE-475A090025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289C81-D631-08C9-092E-E0352B1F3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B52A06-AD50-1EC7-31BD-7CAD3B232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7039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5049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AC437B-8B2B-7A84-AB51-2F29881B1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233E968-BB09-C2F5-B327-8EFF312581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45AA9E-E6C2-CC02-9228-FECA4E6550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934C58-4A7D-20F4-479E-87148FC1A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3540B-DBA4-B50B-5894-E399A4506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225960-E610-1B92-2C3F-48FFA01AB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615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890AA-16F2-3028-E197-BEFA0BC98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EF5CF6-41EA-3257-06D0-A820E3BC27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14E989-7D64-9A4D-C608-F837D5F0CD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5BC41F-2771-97BF-9285-2BDBA000D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42EE9-599D-175B-F355-61C1B1AB6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8908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BECDC46-A555-C768-F13B-F9E23B49DB0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7C557D-E366-4616-6B57-21FBC981F5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59DE06-032B-8A95-C820-063508981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701EE0-872D-43D2-8D68-C3C73D6EA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56AB41-34EA-FE74-BFEF-59A77E5B0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4772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8432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61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3209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59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640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2648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971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EE2F4E0-1E86-9993-66BF-D4B6698D3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1774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5706BE-102B-499B-05A9-DCDE3E2250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4337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5D082E-D34D-A0CA-FB53-4BA6689EC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28C279-255E-6F67-F33C-1F9E70067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C87F8D-6BC3-E326-94C8-BCFE7E814C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DACAAE4-BC76-4FFC-9997-350647EC4B69}" type="datetimeFigureOut">
              <a:rPr lang="en-GB" smtClean="0"/>
              <a:t>02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DEEBFD-2EE9-4513-E0D0-3B2868EF4F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DC3D16-B3D4-5DA7-B1BC-7F46DA0C3A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8B77413-52DD-4223-97C0-899A619FF949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552585F-4EC9-3538-D5B1-952748896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1774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E2F4E0-1E86-9993-66BF-D4B6698D3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009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1">
                <a:lumMod val="85000"/>
                <a:lumOff val="15000"/>
              </a:schemeClr>
            </a:gs>
            <a:gs pos="50000">
              <a:srgbClr val="FFC000"/>
            </a:gs>
            <a:gs pos="100000">
              <a:srgbClr val="FFC0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4E393E8-86A7-69E9-E248-3C7BDED78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161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CF0FFF-2051-009A-CD23-37BDEF73AF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212718" y="700032"/>
            <a:ext cx="7727498" cy="2331990"/>
          </a:xfrm>
        </p:spPr>
        <p:txBody>
          <a:bodyPr vert="horz">
            <a:noAutofit/>
          </a:bodyPr>
          <a:lstStyle/>
          <a:p>
            <a:pPr algn="ctr"/>
            <a:r>
              <a:rPr lang="en-GB" sz="4800" dirty="0">
                <a:latin typeface="Aharoni" panose="02010803020104030203" pitchFamily="2" charset="-79"/>
                <a:cs typeface="Aharoni" panose="02010803020104030203" pitchFamily="2" charset="-79"/>
              </a:rPr>
              <a:t>Chaitanya </a:t>
            </a:r>
            <a:r>
              <a:rPr lang="en-GB" sz="4800" dirty="0" err="1">
                <a:latin typeface="Aharoni" panose="02010803020104030203" pitchFamily="2" charset="-79"/>
                <a:cs typeface="Aharoni" panose="02010803020104030203" pitchFamily="2" charset="-79"/>
              </a:rPr>
              <a:t>CaritamritA</a:t>
            </a:r>
            <a:r>
              <a:rPr lang="en-GB" sz="4800" dirty="0">
                <a:latin typeface="Aharoni" panose="02010803020104030203" pitchFamily="2" charset="-79"/>
                <a:cs typeface="Aharoni" panose="02010803020104030203" pitchFamily="2" charset="-79"/>
              </a:rPr>
              <a:t> distribution 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6D21F2-7657-1887-D488-B1C37278A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6915" y="561609"/>
            <a:ext cx="5797990" cy="775494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CC Book Distribution Committee Presents</a:t>
            </a:r>
          </a:p>
        </p:txBody>
      </p:sp>
      <p:pic>
        <p:nvPicPr>
          <p:cNvPr id="5" name="Picture 4" descr="A painting of a person dancing&#10;&#10;Description automatically generated">
            <a:extLst>
              <a:ext uri="{FF2B5EF4-FFF2-40B4-BE49-F238E27FC236}">
                <a16:creationId xmlns:a16="http://schemas.microsoft.com/office/drawing/2014/main" id="{3C0771C5-4928-30DB-04A6-E73F9A10B95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4250"/>
          <a:stretch/>
        </p:blipFill>
        <p:spPr>
          <a:xfrm>
            <a:off x="6229215" y="10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pic>
        <p:nvPicPr>
          <p:cNvPr id="19" name="Picture 18" descr="A group of books with images&#10;&#10;Description automatically generated">
            <a:extLst>
              <a:ext uri="{FF2B5EF4-FFF2-40B4-BE49-F238E27FC236}">
                <a16:creationId xmlns:a16="http://schemas.microsoft.com/office/drawing/2014/main" id="{FB0A8479-8EDE-4AE9-DC27-209908F03E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000" b="93600" l="10000" r="90000">
                        <a14:foregroundMark x1="13600" y1="14700" x2="13600" y2="14700"/>
                        <a14:foregroundMark x1="13600" y1="14700" x2="13600" y2="14700"/>
                        <a14:foregroundMark x1="27500" y1="8000" x2="27500" y2="8000"/>
                        <a14:foregroundMark x1="27500" y1="8000" x2="27500" y2="8000"/>
                        <a14:foregroundMark x1="84200" y1="54800" x2="84200" y2="54800"/>
                        <a14:foregroundMark x1="73100" y1="91300" x2="73100" y2="91300"/>
                        <a14:foregroundMark x1="84200" y1="64700" x2="84200" y2="64700"/>
                        <a14:foregroundMark x1="84800" y1="46400" x2="84800" y2="46400"/>
                        <a14:foregroundMark x1="78700" y1="93600" x2="78700" y2="936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6843" y="3032022"/>
            <a:ext cx="3856457" cy="3856457"/>
          </a:xfrm>
          <a:prstGeom prst="rect">
            <a:avLst/>
          </a:prstGeom>
        </p:spPr>
      </p:pic>
      <p:pic>
        <p:nvPicPr>
          <p:cNvPr id="34" name="Picture 33" descr="A close up of a logo&#10;&#10;Description automatically generated">
            <a:extLst>
              <a:ext uri="{FF2B5EF4-FFF2-40B4-BE49-F238E27FC236}">
                <a16:creationId xmlns:a16="http://schemas.microsoft.com/office/drawing/2014/main" id="{43CF0B88-E462-FFE3-8C7D-A338E88F8C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8" y="65236"/>
            <a:ext cx="1446122" cy="617646"/>
          </a:xfrm>
          <a:prstGeom prst="rect">
            <a:avLst/>
          </a:prstGeom>
        </p:spPr>
      </p:pic>
      <p:sp>
        <p:nvSpPr>
          <p:cNvPr id="38" name="Flowchart: Terminator 37">
            <a:extLst>
              <a:ext uri="{FF2B5EF4-FFF2-40B4-BE49-F238E27FC236}">
                <a16:creationId xmlns:a16="http://schemas.microsoft.com/office/drawing/2014/main" id="{63B81F34-9D59-F479-7FBD-053E5544BA27}"/>
              </a:ext>
            </a:extLst>
          </p:cNvPr>
          <p:cNvSpPr/>
          <p:nvPr/>
        </p:nvSpPr>
        <p:spPr>
          <a:xfrm>
            <a:off x="3403600" y="5557520"/>
            <a:ext cx="8554720" cy="995680"/>
          </a:xfrm>
          <a:prstGeom prst="flowChartTermina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latin typeface="Fairwater Script" panose="02000507000000020003" pitchFamily="2" charset="0"/>
              </a:rPr>
              <a:t>“This book selling is the real preaching of our cult. Especially when you sell Chaitanya </a:t>
            </a:r>
            <a:r>
              <a:rPr lang="en-GB" sz="2000" b="1" dirty="0" err="1">
                <a:latin typeface="Fairwater Script" panose="02000507000000020003" pitchFamily="2" charset="0"/>
              </a:rPr>
              <a:t>Critamrit</a:t>
            </a:r>
            <a:r>
              <a:rPr lang="en-GB" sz="2000" b="1" dirty="0">
                <a:latin typeface="Fairwater Script" panose="02000507000000020003" pitchFamily="2" charset="0"/>
              </a:rPr>
              <a:t> and Bhagavatam.” </a:t>
            </a:r>
            <a:r>
              <a:rPr lang="en-GB" sz="2000" b="1" dirty="0"/>
              <a:t>~ </a:t>
            </a:r>
            <a:r>
              <a:rPr lang="en-GB" sz="1400" b="1" i="1" dirty="0" err="1"/>
              <a:t>Srila</a:t>
            </a:r>
            <a:r>
              <a:rPr lang="en-GB" sz="1400" b="1" i="1" dirty="0"/>
              <a:t> </a:t>
            </a:r>
            <a:r>
              <a:rPr lang="en-GB" sz="1400" b="1" i="1" dirty="0" err="1"/>
              <a:t>Prabhupada</a:t>
            </a:r>
            <a:endParaRPr lang="en-GB" sz="2000" b="1" i="1" dirty="0"/>
          </a:p>
        </p:txBody>
      </p:sp>
    </p:spTree>
    <p:extLst>
      <p:ext uri="{BB962C8B-B14F-4D97-AF65-F5344CB8AC3E}">
        <p14:creationId xmlns:p14="http://schemas.microsoft.com/office/powerpoint/2010/main" val="3914091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oster of a person holding a book&#10;&#10;Description automatically generated">
            <a:extLst>
              <a:ext uri="{FF2B5EF4-FFF2-40B4-BE49-F238E27FC236}">
                <a16:creationId xmlns:a16="http://schemas.microsoft.com/office/drawing/2014/main" id="{94174DE7-DE50-6BF2-9D5D-3377138193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810" y="0"/>
            <a:ext cx="5314950" cy="6858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CA33E8C-AD8B-C577-2C8B-7149627959AA}"/>
              </a:ext>
            </a:extLst>
          </p:cNvPr>
          <p:cNvSpPr txBox="1"/>
          <p:nvPr/>
        </p:nvSpPr>
        <p:spPr>
          <a:xfrm>
            <a:off x="400552" y="478229"/>
            <a:ext cx="562102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…..I want that every respectable person has a full set of Bhagavatam &amp; Chaitanya </a:t>
            </a:r>
            <a:r>
              <a:rPr lang="en-GB" sz="4000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aritamrit</a:t>
            </a:r>
            <a:r>
              <a:rPr lang="en-GB" sz="40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in his home.</a:t>
            </a:r>
          </a:p>
          <a:p>
            <a:endParaRPr lang="en-GB" sz="28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endParaRPr lang="en-GB" sz="2800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~ </a:t>
            </a:r>
            <a:r>
              <a:rPr lang="en-GB" sz="1600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rila</a:t>
            </a:r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GB" sz="1600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abhupada</a:t>
            </a:r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to </a:t>
            </a:r>
            <a:r>
              <a:rPr lang="en-GB" sz="1600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rdha-Vrta</a:t>
            </a:r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, </a:t>
            </a:r>
            <a:r>
              <a:rPr lang="en-GB" sz="1600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sabhadeva</a:t>
            </a:r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&amp; Stan </a:t>
            </a:r>
          </a:p>
          <a:p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alifornia USA, 24</a:t>
            </a:r>
            <a:r>
              <a:rPr lang="en-GB" sz="1600" baseline="300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</a:t>
            </a:r>
            <a:r>
              <a:rPr lang="en-GB" sz="16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January 1977</a:t>
            </a:r>
          </a:p>
        </p:txBody>
      </p:sp>
    </p:spTree>
    <p:extLst>
      <p:ext uri="{BB962C8B-B14F-4D97-AF65-F5344CB8AC3E}">
        <p14:creationId xmlns:p14="http://schemas.microsoft.com/office/powerpoint/2010/main" val="838781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books with images&#10;&#10;Description automatically generated">
            <a:extLst>
              <a:ext uri="{FF2B5EF4-FFF2-40B4-BE49-F238E27FC236}">
                <a16:creationId xmlns:a16="http://schemas.microsoft.com/office/drawing/2014/main" id="{AAED1349-1ECB-A61D-3E3E-B88522390C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000" b="93600" l="10000" r="90000">
                        <a14:foregroundMark x1="13600" y1="14700" x2="13600" y2="14700"/>
                        <a14:foregroundMark x1="13600" y1="14700" x2="13600" y2="14700"/>
                        <a14:foregroundMark x1="27500" y1="8000" x2="27500" y2="8000"/>
                        <a14:foregroundMark x1="27500" y1="8000" x2="27500" y2="8000"/>
                        <a14:foregroundMark x1="84200" y1="54800" x2="84200" y2="54800"/>
                        <a14:foregroundMark x1="73100" y1="91300" x2="73100" y2="91300"/>
                        <a14:foregroundMark x1="84200" y1="64700" x2="84200" y2="64700"/>
                        <a14:foregroundMark x1="84800" y1="46400" x2="84800" y2="46400"/>
                        <a14:foregroundMark x1="78700" y1="93600" x2="78700" y2="936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2219" b="21542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CFD5DA6-057E-B6EB-1473-F1D10D808E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8B23C4-64D9-4932-4A2B-D027552B9102}"/>
              </a:ext>
            </a:extLst>
          </p:cNvPr>
          <p:cNvSpPr txBox="1"/>
          <p:nvPr/>
        </p:nvSpPr>
        <p:spPr>
          <a:xfrm>
            <a:off x="167640" y="1295881"/>
            <a:ext cx="118567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aitanya</a:t>
            </a:r>
            <a:r>
              <a:rPr lang="en-GB" sz="4000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aritamrta</a:t>
            </a:r>
            <a:r>
              <a:rPr lang="en-GB" sz="4000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Nitya </a:t>
            </a:r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nutana</a:t>
            </a:r>
            <a:endParaRPr lang="en-GB" sz="4000" dirty="0">
              <a:solidFill>
                <a:srgbClr val="FFC00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algn="ctr"/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unite</a:t>
            </a:r>
            <a:r>
              <a:rPr lang="en-GB" sz="4000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unite</a:t>
            </a:r>
            <a:r>
              <a:rPr lang="en-GB" sz="4000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judaya</a:t>
            </a:r>
            <a:r>
              <a:rPr lang="en-GB" sz="4000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hrdaya</a:t>
            </a:r>
            <a:r>
              <a:rPr lang="en-GB" sz="4000" dirty="0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GB" sz="4000" dirty="0" err="1">
                <a:solidFill>
                  <a:srgbClr val="FFC0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ravana</a:t>
            </a:r>
            <a:endParaRPr lang="en-GB" sz="4000" dirty="0">
              <a:solidFill>
                <a:srgbClr val="FFC00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5F554FE-9EA2-76A8-F2BE-48B7101637A1}"/>
              </a:ext>
            </a:extLst>
          </p:cNvPr>
          <p:cNvSpPr/>
          <p:nvPr/>
        </p:nvSpPr>
        <p:spPr>
          <a:xfrm>
            <a:off x="0" y="3281680"/>
            <a:ext cx="12192000" cy="3413760"/>
          </a:xfrm>
          <a:prstGeom prst="ellipse">
            <a:avLst/>
          </a:prstGeom>
          <a:solidFill>
            <a:schemeClr val="accent4">
              <a:alpha val="43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>
              <a:solidFill>
                <a:srgbClr val="FFC000"/>
              </a:solidFill>
              <a:latin typeface="Aptos Black" panose="020F0502020204030204" pitchFamily="34" charset="0"/>
            </a:endParaRPr>
          </a:p>
          <a:p>
            <a:pPr algn="ctr"/>
            <a:r>
              <a:rPr lang="en-GB" sz="3200" dirty="0">
                <a:solidFill>
                  <a:srgbClr val="FFC000"/>
                </a:solidFill>
                <a:latin typeface="Aptos Black" panose="020F0502020204030204" pitchFamily="34" charset="0"/>
              </a:rPr>
              <a:t>Sri Chaitanya </a:t>
            </a:r>
            <a:r>
              <a:rPr lang="en-GB" sz="3200" dirty="0" err="1">
                <a:solidFill>
                  <a:srgbClr val="FFC000"/>
                </a:solidFill>
                <a:latin typeface="Aptos Black" panose="020F0502020204030204" pitchFamily="34" charset="0"/>
              </a:rPr>
              <a:t>Caritamrit</a:t>
            </a:r>
            <a:r>
              <a:rPr lang="en-GB" sz="3200" dirty="0">
                <a:solidFill>
                  <a:srgbClr val="FFC000"/>
                </a:solidFill>
                <a:latin typeface="Aptos Black" panose="020F0502020204030204" pitchFamily="34" charset="0"/>
              </a:rPr>
              <a:t> is ever increasingly fresh. For one who hears it again and again, the heart and ear become pacified.</a:t>
            </a:r>
          </a:p>
          <a:p>
            <a:pPr algn="ctr"/>
            <a:endParaRPr lang="en-GB" sz="2000" dirty="0">
              <a:solidFill>
                <a:srgbClr val="FFC000"/>
              </a:solidFill>
              <a:latin typeface="Aptos Black" panose="020F0502020204030204" pitchFamily="34" charset="0"/>
            </a:endParaRPr>
          </a:p>
          <a:p>
            <a:pPr algn="ctr"/>
            <a:endParaRPr lang="en-GB" sz="2000" dirty="0">
              <a:solidFill>
                <a:srgbClr val="FFC000"/>
              </a:solidFill>
              <a:latin typeface="Aptos Black" panose="020F0502020204030204" pitchFamily="34" charset="0"/>
            </a:endParaRPr>
          </a:p>
          <a:p>
            <a:pPr algn="ctr"/>
            <a:r>
              <a:rPr lang="en-GB" sz="2000" dirty="0">
                <a:solidFill>
                  <a:srgbClr val="FFC000"/>
                </a:solidFill>
                <a:latin typeface="Aptos Black" panose="020F0502020204030204" pitchFamily="34" charset="0"/>
              </a:rPr>
              <a:t>~ CC-</a:t>
            </a:r>
            <a:r>
              <a:rPr lang="en-GB" sz="2000" dirty="0" err="1">
                <a:solidFill>
                  <a:srgbClr val="FFC000"/>
                </a:solidFill>
                <a:latin typeface="Aptos Black" panose="020F0502020204030204" pitchFamily="34" charset="0"/>
              </a:rPr>
              <a:t>Antya</a:t>
            </a:r>
            <a:r>
              <a:rPr lang="en-GB" sz="2000" dirty="0">
                <a:solidFill>
                  <a:srgbClr val="FFC000"/>
                </a:solidFill>
                <a:latin typeface="Aptos Black" panose="020F0502020204030204" pitchFamily="34" charset="0"/>
              </a:rPr>
              <a:t> Lila 3.19.111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0991F2AD-B4EB-E1B5-2FD7-A2E19E7BC9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78"/>
          <a:stretch/>
        </p:blipFill>
        <p:spPr>
          <a:xfrm>
            <a:off x="-13562" y="-40639"/>
            <a:ext cx="693012" cy="617646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621121E-7D6F-7340-7557-993D054F56C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78"/>
          <a:stretch/>
        </p:blipFill>
        <p:spPr>
          <a:xfrm>
            <a:off x="11512550" y="10150"/>
            <a:ext cx="693012" cy="61764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E6AF46-1291-67F7-3D69-D4FB6A221FAE}"/>
              </a:ext>
            </a:extLst>
          </p:cNvPr>
          <p:cNvCxnSpPr/>
          <p:nvPr/>
        </p:nvCxnSpPr>
        <p:spPr>
          <a:xfrm>
            <a:off x="4795284" y="5773479"/>
            <a:ext cx="237106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7890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ook cover with a picture of a person&#10;&#10;Description automatically generated">
            <a:extLst>
              <a:ext uri="{FF2B5EF4-FFF2-40B4-BE49-F238E27FC236}">
                <a16:creationId xmlns:a16="http://schemas.microsoft.com/office/drawing/2014/main" id="{FEC9595B-6BFB-0CF1-B8CD-C991ED57CBD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3" t="1263" r="3069" b="3866"/>
          <a:stretch/>
        </p:blipFill>
        <p:spPr>
          <a:xfrm rot="20957371">
            <a:off x="662502" y="282384"/>
            <a:ext cx="3611644" cy="6109947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CAFF89A-EF19-FD69-2F54-4B99A37B56CC}"/>
              </a:ext>
            </a:extLst>
          </p:cNvPr>
          <p:cNvSpPr/>
          <p:nvPr/>
        </p:nvSpPr>
        <p:spPr>
          <a:xfrm>
            <a:off x="4986670" y="-1"/>
            <a:ext cx="7205330" cy="6858001"/>
          </a:xfrm>
          <a:prstGeom prst="rect">
            <a:avLst/>
          </a:prstGeom>
          <a:solidFill>
            <a:schemeClr val="tx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kern="1200" dirty="0">
                <a:solidFill>
                  <a:schemeClr val="bg1"/>
                </a:solidFill>
                <a:latin typeface="Aharoni" panose="02010803020104030203" pitchFamily="2" charset="-79"/>
                <a:ea typeface="+mj-ea"/>
                <a:cs typeface="Aharoni" panose="02010803020104030203" pitchFamily="2" charset="-79"/>
              </a:rPr>
              <a:t>The purpose of this Krishna consciousness movement is stated by Chaitanya </a:t>
            </a:r>
            <a:r>
              <a:rPr lang="en-US" sz="1800" kern="1200" dirty="0" err="1">
                <a:solidFill>
                  <a:schemeClr val="bg1"/>
                </a:solidFill>
                <a:latin typeface="Aharoni" panose="02010803020104030203" pitchFamily="2" charset="-79"/>
                <a:ea typeface="+mj-ea"/>
                <a:cs typeface="Aharoni" panose="02010803020104030203" pitchFamily="2" charset="-79"/>
              </a:rPr>
              <a:t>Mahaprabhu</a:t>
            </a:r>
            <a:r>
              <a:rPr lang="en-US" sz="1800" kern="1200" dirty="0">
                <a:solidFill>
                  <a:schemeClr val="bg1"/>
                </a:solidFill>
                <a:latin typeface="Aharoni" panose="02010803020104030203" pitchFamily="2" charset="-79"/>
                <a:ea typeface="+mj-ea"/>
                <a:cs typeface="Aharoni" panose="02010803020104030203" pitchFamily="2" charset="-79"/>
              </a:rPr>
              <a:t> in the Chaitanya </a:t>
            </a:r>
            <a:r>
              <a:rPr lang="en-US" sz="1800" kern="1200" dirty="0" err="1">
                <a:solidFill>
                  <a:schemeClr val="bg1"/>
                </a:solidFill>
                <a:latin typeface="Aharoni" panose="02010803020104030203" pitchFamily="2" charset="-79"/>
                <a:ea typeface="+mj-ea"/>
                <a:cs typeface="Aharoni" panose="02010803020104030203" pitchFamily="2" charset="-79"/>
              </a:rPr>
              <a:t>Caritamrit</a:t>
            </a:r>
            <a:r>
              <a:rPr lang="en-US" sz="18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…as you also preach earnestly…you will do the highest good for others and for yourself as well…Gradually spread the book distribution to every home.</a:t>
            </a:r>
          </a:p>
          <a:p>
            <a:pPr algn="ctr"/>
            <a:endParaRPr lang="en-US" dirty="0">
              <a:solidFill>
                <a:schemeClr val="bg1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~ </a:t>
            </a:r>
            <a:r>
              <a:rPr lang="en-US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Srila</a:t>
            </a:r>
            <a:r>
              <a:rPr lang="en-US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abhupada</a:t>
            </a:r>
            <a:r>
              <a:rPr lang="en-US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to Bir Krishna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ayapur, 10</a:t>
            </a:r>
            <a:r>
              <a:rPr lang="en-US" baseline="30000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</a:t>
            </a:r>
            <a:r>
              <a:rPr lang="en-US" dirty="0">
                <a:solidFill>
                  <a:schemeClr val="bg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 February, 1977</a:t>
            </a:r>
            <a:endParaRPr lang="en-GB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FDEDB5AD-AB8C-7933-878C-C5289EFBFA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78"/>
          <a:stretch/>
        </p:blipFill>
        <p:spPr>
          <a:xfrm>
            <a:off x="-13562" y="-40639"/>
            <a:ext cx="693012" cy="617646"/>
          </a:xfrm>
          <a:prstGeom prst="rect">
            <a:avLst/>
          </a:prstGeom>
        </p:spPr>
      </p:pic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43751A62-9DD7-ABAD-D619-971FC24A70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78"/>
          <a:stretch/>
        </p:blipFill>
        <p:spPr>
          <a:xfrm>
            <a:off x="11512550" y="10150"/>
            <a:ext cx="693012" cy="61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129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0BE148B-1F81-93D0-7982-F87CD5905A2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97" t="1555" r="3187" b="3737"/>
          <a:stretch/>
        </p:blipFill>
        <p:spPr>
          <a:xfrm>
            <a:off x="4688958" y="-24004"/>
            <a:ext cx="7503042" cy="61270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E68C6A2-9024-C667-62AA-126FC417522F}"/>
              </a:ext>
            </a:extLst>
          </p:cNvPr>
          <p:cNvSpPr txBox="1"/>
          <p:nvPr/>
        </p:nvSpPr>
        <p:spPr>
          <a:xfrm>
            <a:off x="-13562" y="779122"/>
            <a:ext cx="451883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>
                <a:latin typeface="Aptos Black" panose="020B0004020202020204" pitchFamily="34" charset="0"/>
              </a:rPr>
              <a:t>In Chaitanya </a:t>
            </a:r>
            <a:r>
              <a:rPr lang="en-GB" sz="2400" dirty="0" err="1">
                <a:latin typeface="Aptos Black" panose="020B0004020202020204" pitchFamily="34" charset="0"/>
              </a:rPr>
              <a:t>Caritamrit</a:t>
            </a:r>
            <a:r>
              <a:rPr lang="en-GB" sz="2400" dirty="0">
                <a:latin typeface="Aptos Black" panose="020B0004020202020204" pitchFamily="34" charset="0"/>
              </a:rPr>
              <a:t> it is said that nobody should be neglectful of the Siddhanta because by </a:t>
            </a:r>
            <a:r>
              <a:rPr lang="en-GB" sz="2400" dirty="0" err="1">
                <a:latin typeface="Aptos Black" panose="020B0004020202020204" pitchFamily="34" charset="0"/>
              </a:rPr>
              <a:t>siddhantic</a:t>
            </a:r>
            <a:r>
              <a:rPr lang="en-GB" sz="2400" dirty="0">
                <a:latin typeface="Aptos Black" panose="020B0004020202020204" pitchFamily="34" charset="0"/>
              </a:rPr>
              <a:t> conclusion one becomes firm in Krishna consciousness….&amp; the boys and girls in our Krishna society should now give more attention for studying the books very attentively.</a:t>
            </a:r>
          </a:p>
          <a:p>
            <a:pPr algn="ctr"/>
            <a:endParaRPr lang="en-GB" sz="2400" dirty="0">
              <a:latin typeface="Aptos Black" panose="020B0004020202020204" pitchFamily="34" charset="0"/>
            </a:endParaRPr>
          </a:p>
          <a:p>
            <a:pPr algn="ctr"/>
            <a:r>
              <a:rPr lang="en-GB" sz="1600" dirty="0">
                <a:latin typeface="Aptos Black" panose="020B0004020202020204" pitchFamily="34" charset="0"/>
              </a:rPr>
              <a:t>~ </a:t>
            </a:r>
            <a:r>
              <a:rPr lang="en-GB" sz="1600" dirty="0" err="1">
                <a:latin typeface="Aptos Black" panose="020B0004020202020204" pitchFamily="34" charset="0"/>
              </a:rPr>
              <a:t>Srila</a:t>
            </a:r>
            <a:r>
              <a:rPr lang="en-GB" sz="1600" dirty="0">
                <a:latin typeface="Aptos Black" panose="020B0004020202020204" pitchFamily="34" charset="0"/>
              </a:rPr>
              <a:t> </a:t>
            </a:r>
            <a:r>
              <a:rPr lang="en-GB" sz="1600" dirty="0" err="1">
                <a:latin typeface="Aptos Black" panose="020B0004020202020204" pitchFamily="34" charset="0"/>
              </a:rPr>
              <a:t>Prabhupada</a:t>
            </a:r>
            <a:r>
              <a:rPr lang="en-GB" sz="1600" dirty="0">
                <a:latin typeface="Aptos Black" panose="020B0004020202020204" pitchFamily="34" charset="0"/>
              </a:rPr>
              <a:t> to Krishna Devi </a:t>
            </a:r>
          </a:p>
          <a:p>
            <a:pPr algn="ctr"/>
            <a:r>
              <a:rPr lang="en-GB" sz="1600" dirty="0">
                <a:latin typeface="Aptos Black" panose="020B0004020202020204" pitchFamily="34" charset="0"/>
              </a:rPr>
              <a:t>17</a:t>
            </a:r>
            <a:r>
              <a:rPr lang="en-GB" sz="1600" baseline="30000" dirty="0">
                <a:latin typeface="Aptos Black" panose="020B0004020202020204" pitchFamily="34" charset="0"/>
              </a:rPr>
              <a:t>th</a:t>
            </a:r>
            <a:r>
              <a:rPr lang="en-GB" sz="1600" dirty="0">
                <a:latin typeface="Aptos Black" panose="020B0004020202020204" pitchFamily="34" charset="0"/>
              </a:rPr>
              <a:t> Feb, 1970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B61DE48-785C-5225-61A5-27D0E32350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78"/>
          <a:stretch/>
        </p:blipFill>
        <p:spPr>
          <a:xfrm>
            <a:off x="-13562" y="-40639"/>
            <a:ext cx="693012" cy="617646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CCBCC919-F8E7-A6BB-354A-41F44BFF1C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078"/>
          <a:stretch/>
        </p:blipFill>
        <p:spPr>
          <a:xfrm>
            <a:off x="11512550" y="10150"/>
            <a:ext cx="693012" cy="61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033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3EB1F63-2323-CFD1-73E0-73A82F083B6D}"/>
              </a:ext>
            </a:extLst>
          </p:cNvPr>
          <p:cNvSpPr txBox="1"/>
          <p:nvPr/>
        </p:nvSpPr>
        <p:spPr>
          <a:xfrm>
            <a:off x="837398" y="317634"/>
            <a:ext cx="10400445" cy="5047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IN" sz="5400" dirty="0"/>
          </a:p>
          <a:p>
            <a:r>
              <a:rPr lang="en-IN" sz="5400" dirty="0" err="1"/>
              <a:t>siddhanta</a:t>
            </a:r>
            <a:r>
              <a:rPr lang="en-IN" sz="5400" dirty="0"/>
              <a:t> </a:t>
            </a:r>
            <a:r>
              <a:rPr lang="en-IN" sz="5400" dirty="0" err="1"/>
              <a:t>baliya</a:t>
            </a:r>
            <a:r>
              <a:rPr lang="en-IN" sz="5400" dirty="0"/>
              <a:t> </a:t>
            </a:r>
            <a:r>
              <a:rPr lang="en-IN" sz="5400" dirty="0" err="1"/>
              <a:t>citte</a:t>
            </a:r>
            <a:r>
              <a:rPr lang="en-IN" sz="5400" dirty="0"/>
              <a:t> </a:t>
            </a:r>
            <a:r>
              <a:rPr lang="en-IN" sz="5400" dirty="0" err="1"/>
              <a:t>na</a:t>
            </a:r>
            <a:r>
              <a:rPr lang="en-IN" sz="5400" dirty="0"/>
              <a:t> kara </a:t>
            </a:r>
            <a:r>
              <a:rPr lang="en-IN" sz="5400" dirty="0" err="1"/>
              <a:t>alasa</a:t>
            </a:r>
            <a:endParaRPr lang="en-IN" sz="5400" dirty="0"/>
          </a:p>
          <a:p>
            <a:r>
              <a:rPr lang="en-IN" sz="5400" dirty="0" err="1"/>
              <a:t>iha</a:t>
            </a:r>
            <a:r>
              <a:rPr lang="en-IN" sz="5400" dirty="0"/>
              <a:t> ha-</a:t>
            </a:r>
            <a:r>
              <a:rPr lang="en-IN" sz="5400" dirty="0" err="1"/>
              <a:t>ite</a:t>
            </a:r>
            <a:r>
              <a:rPr lang="en-IN" sz="5400" dirty="0"/>
              <a:t> </a:t>
            </a:r>
            <a:r>
              <a:rPr lang="en-IN" sz="5400" dirty="0" err="1"/>
              <a:t>krsne</a:t>
            </a:r>
            <a:r>
              <a:rPr lang="en-IN" sz="5400" dirty="0"/>
              <a:t> </a:t>
            </a:r>
            <a:r>
              <a:rPr lang="en-IN" sz="5400" dirty="0" err="1"/>
              <a:t>lage</a:t>
            </a:r>
            <a:r>
              <a:rPr lang="en-IN" sz="5400" dirty="0"/>
              <a:t> </a:t>
            </a:r>
            <a:r>
              <a:rPr lang="en-IN" sz="5400" dirty="0" err="1"/>
              <a:t>sudrdha</a:t>
            </a:r>
            <a:r>
              <a:rPr lang="en-IN" sz="5400" dirty="0"/>
              <a:t> </a:t>
            </a:r>
            <a:r>
              <a:rPr lang="en-IN" sz="5400" dirty="0" err="1"/>
              <a:t>manasa</a:t>
            </a:r>
            <a:endParaRPr lang="en-IN" sz="5400" dirty="0"/>
          </a:p>
          <a:p>
            <a:r>
              <a:rPr lang="en-IN" sz="3200" dirty="0"/>
              <a:t>TRANSLATION</a:t>
            </a:r>
          </a:p>
          <a:p>
            <a:r>
              <a:rPr lang="en-IN" sz="3200" dirty="0"/>
              <a:t>A sincere student should not neglect the discussion of such conclusions, considering them controversial, for such discussions strengthen the mind. Thus one's mind becomes attached to Sri Krsna. Adi 2.117</a:t>
            </a:r>
          </a:p>
        </p:txBody>
      </p:sp>
    </p:spTree>
    <p:extLst>
      <p:ext uri="{BB962C8B-B14F-4D97-AF65-F5344CB8AC3E}">
        <p14:creationId xmlns:p14="http://schemas.microsoft.com/office/powerpoint/2010/main" val="1221845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WhatsApp Video 2024-03-02 at 7.50.23 AM">
            <a:hlinkClick r:id="" action="ppaction://media"/>
            <a:extLst>
              <a:ext uri="{FF2B5EF4-FFF2-40B4-BE49-F238E27FC236}">
                <a16:creationId xmlns:a16="http://schemas.microsoft.com/office/drawing/2014/main" id="{D29FC8BD-9C42-3230-D741-98FF16A3D2D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20459" y="168812"/>
            <a:ext cx="12212459" cy="652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296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359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089EED9-F54D-4F20-A2C6-949DE41769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46F721-3785-414D-8697-16AF490E68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A67EC2-3896-17F6-21CE-08E842E2881F}"/>
              </a:ext>
            </a:extLst>
          </p:cNvPr>
          <p:cNvSpPr txBox="1"/>
          <p:nvPr/>
        </p:nvSpPr>
        <p:spPr>
          <a:xfrm>
            <a:off x="8115300" y="1562669"/>
            <a:ext cx="3389515" cy="238068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Hare Krishna</a:t>
            </a:r>
          </a:p>
        </p:txBody>
      </p:sp>
      <p:pic>
        <p:nvPicPr>
          <p:cNvPr id="4" name="Picture 3" descr="A Buddha figurine with a person sitting on the background holding a beaded necklace">
            <a:extLst>
              <a:ext uri="{FF2B5EF4-FFF2-40B4-BE49-F238E27FC236}">
                <a16:creationId xmlns:a16="http://schemas.microsoft.com/office/drawing/2014/main" id="{BA3DF44C-B688-67A7-F8D5-7B5B12723D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84" r="8084"/>
          <a:stretch/>
        </p:blipFill>
        <p:spPr>
          <a:xfrm>
            <a:off x="20" y="1"/>
            <a:ext cx="7665573" cy="6857999"/>
          </a:xfrm>
          <a:custGeom>
            <a:avLst/>
            <a:gdLst/>
            <a:ahLst/>
            <a:cxnLst/>
            <a:rect l="l" t="t" r="r" b="b"/>
            <a:pathLst>
              <a:path w="7665593" h="6857999">
                <a:moveTo>
                  <a:pt x="0" y="0"/>
                </a:moveTo>
                <a:lnTo>
                  <a:pt x="7363783" y="0"/>
                </a:lnTo>
                <a:lnTo>
                  <a:pt x="7372954" y="18152"/>
                </a:lnTo>
                <a:cubicBezTo>
                  <a:pt x="7378508" y="27417"/>
                  <a:pt x="7383821" y="35694"/>
                  <a:pt x="7386404" y="41707"/>
                </a:cubicBezTo>
                <a:lnTo>
                  <a:pt x="7389058" y="60832"/>
                </a:lnTo>
                <a:lnTo>
                  <a:pt x="7394074" y="60137"/>
                </a:lnTo>
                <a:lnTo>
                  <a:pt x="7394443" y="67241"/>
                </a:lnTo>
                <a:lnTo>
                  <a:pt x="7394565" y="83099"/>
                </a:lnTo>
                <a:cubicBezTo>
                  <a:pt x="7395324" y="92994"/>
                  <a:pt x="7394122" y="120511"/>
                  <a:pt x="7395957" y="130584"/>
                </a:cubicBezTo>
                <a:cubicBezTo>
                  <a:pt x="7401306" y="133490"/>
                  <a:pt x="7404223" y="137975"/>
                  <a:pt x="7405574" y="143540"/>
                </a:cubicBezTo>
                <a:lnTo>
                  <a:pt x="7405725" y="155795"/>
                </a:lnTo>
                <a:lnTo>
                  <a:pt x="7418615" y="226869"/>
                </a:lnTo>
                <a:lnTo>
                  <a:pt x="7419579" y="236641"/>
                </a:lnTo>
                <a:lnTo>
                  <a:pt x="7423900" y="241933"/>
                </a:lnTo>
                <a:cubicBezTo>
                  <a:pt x="7424763" y="245974"/>
                  <a:pt x="7424206" y="257579"/>
                  <a:pt x="7424760" y="260885"/>
                </a:cubicBezTo>
                <a:cubicBezTo>
                  <a:pt x="7425580" y="261177"/>
                  <a:pt x="7426400" y="261469"/>
                  <a:pt x="7427220" y="261761"/>
                </a:cubicBezTo>
                <a:cubicBezTo>
                  <a:pt x="7431152" y="272291"/>
                  <a:pt x="7444241" y="311893"/>
                  <a:pt x="7448344" y="324055"/>
                </a:cubicBezTo>
                <a:cubicBezTo>
                  <a:pt x="7444563" y="326484"/>
                  <a:pt x="7450535" y="331924"/>
                  <a:pt x="7451833" y="334727"/>
                </a:cubicBezTo>
                <a:cubicBezTo>
                  <a:pt x="7449286" y="335161"/>
                  <a:pt x="7448510" y="341947"/>
                  <a:pt x="7450776" y="343948"/>
                </a:cubicBezTo>
                <a:cubicBezTo>
                  <a:pt x="7463202" y="391652"/>
                  <a:pt x="7437523" y="367773"/>
                  <a:pt x="7453791" y="395003"/>
                </a:cubicBezTo>
                <a:cubicBezTo>
                  <a:pt x="7454869" y="399820"/>
                  <a:pt x="7453841" y="403723"/>
                  <a:pt x="7451939" y="407147"/>
                </a:cubicBezTo>
                <a:lnTo>
                  <a:pt x="7448030" y="412254"/>
                </a:lnTo>
                <a:lnTo>
                  <a:pt x="7455416" y="432021"/>
                </a:lnTo>
                <a:cubicBezTo>
                  <a:pt x="7457991" y="441758"/>
                  <a:pt x="7459699" y="452007"/>
                  <a:pt x="7460479" y="462523"/>
                </a:cubicBezTo>
                <a:cubicBezTo>
                  <a:pt x="7455275" y="464882"/>
                  <a:pt x="7462669" y="473136"/>
                  <a:pt x="7464133" y="477020"/>
                </a:cubicBezTo>
                <a:cubicBezTo>
                  <a:pt x="7460734" y="477060"/>
                  <a:pt x="7459104" y="485663"/>
                  <a:pt x="7461914" y="488716"/>
                </a:cubicBezTo>
                <a:cubicBezTo>
                  <a:pt x="7474065" y="552879"/>
                  <a:pt x="7442314" y="516775"/>
                  <a:pt x="7461353" y="555280"/>
                </a:cubicBezTo>
                <a:cubicBezTo>
                  <a:pt x="7462345" y="561721"/>
                  <a:pt x="7460642" y="566553"/>
                  <a:pt x="7457829" y="570585"/>
                </a:cubicBezTo>
                <a:lnTo>
                  <a:pt x="7450804" y="577839"/>
                </a:lnTo>
                <a:lnTo>
                  <a:pt x="7453309" y="583524"/>
                </a:lnTo>
                <a:cubicBezTo>
                  <a:pt x="7453505" y="604977"/>
                  <a:pt x="7446306" y="611303"/>
                  <a:pt x="7453558" y="623785"/>
                </a:cubicBezTo>
                <a:cubicBezTo>
                  <a:pt x="7438483" y="642230"/>
                  <a:pt x="7452055" y="636019"/>
                  <a:pt x="7454362" y="650049"/>
                </a:cubicBezTo>
                <a:cubicBezTo>
                  <a:pt x="7457368" y="661117"/>
                  <a:pt x="7463152" y="640798"/>
                  <a:pt x="7464006" y="651645"/>
                </a:cubicBezTo>
                <a:cubicBezTo>
                  <a:pt x="7460114" y="663380"/>
                  <a:pt x="7472201" y="662829"/>
                  <a:pt x="7467442" y="675032"/>
                </a:cubicBezTo>
                <a:cubicBezTo>
                  <a:pt x="7458335" y="672068"/>
                  <a:pt x="7469207" y="699114"/>
                  <a:pt x="7461251" y="699956"/>
                </a:cubicBezTo>
                <a:cubicBezTo>
                  <a:pt x="7472628" y="710321"/>
                  <a:pt x="7458614" y="715529"/>
                  <a:pt x="7462119" y="729331"/>
                </a:cubicBezTo>
                <a:cubicBezTo>
                  <a:pt x="7466423" y="735831"/>
                  <a:pt x="7467162" y="740521"/>
                  <a:pt x="7462533" y="746910"/>
                </a:cubicBezTo>
                <a:cubicBezTo>
                  <a:pt x="7483486" y="776851"/>
                  <a:pt x="7463470" y="765024"/>
                  <a:pt x="7471529" y="793043"/>
                </a:cubicBezTo>
                <a:cubicBezTo>
                  <a:pt x="7480002" y="817184"/>
                  <a:pt x="7485500" y="844550"/>
                  <a:pt x="7505730" y="867898"/>
                </a:cubicBezTo>
                <a:cubicBezTo>
                  <a:pt x="7511461" y="872184"/>
                  <a:pt x="7513630" y="882707"/>
                  <a:pt x="7510576" y="891400"/>
                </a:cubicBezTo>
                <a:cubicBezTo>
                  <a:pt x="7510049" y="892894"/>
                  <a:pt x="7509385" y="894278"/>
                  <a:pt x="7508604" y="895508"/>
                </a:cubicBezTo>
                <a:cubicBezTo>
                  <a:pt x="7511698" y="915692"/>
                  <a:pt x="7525520" y="989520"/>
                  <a:pt x="7529143" y="1012510"/>
                </a:cubicBezTo>
                <a:cubicBezTo>
                  <a:pt x="7521781" y="1014371"/>
                  <a:pt x="7535067" y="1025997"/>
                  <a:pt x="7530347" y="1033444"/>
                </a:cubicBezTo>
                <a:cubicBezTo>
                  <a:pt x="7526204" y="1038777"/>
                  <a:pt x="7529270" y="1043549"/>
                  <a:pt x="7529596" y="1049120"/>
                </a:cubicBezTo>
                <a:cubicBezTo>
                  <a:pt x="7526339" y="1056460"/>
                  <a:pt x="7532220" y="1080398"/>
                  <a:pt x="7536437" y="1086639"/>
                </a:cubicBezTo>
                <a:cubicBezTo>
                  <a:pt x="7551094" y="1101553"/>
                  <a:pt x="7540210" y="1135442"/>
                  <a:pt x="7551438" y="1147834"/>
                </a:cubicBezTo>
                <a:cubicBezTo>
                  <a:pt x="7553086" y="1152330"/>
                  <a:pt x="7553752" y="1156729"/>
                  <a:pt x="7553808" y="1161047"/>
                </a:cubicBezTo>
                <a:lnTo>
                  <a:pt x="7552572" y="1173130"/>
                </a:lnTo>
                <a:lnTo>
                  <a:pt x="7549434" y="1176566"/>
                </a:lnTo>
                <a:lnTo>
                  <a:pt x="7550211" y="1183950"/>
                </a:lnTo>
                <a:lnTo>
                  <a:pt x="7549733" y="1186066"/>
                </a:lnTo>
                <a:cubicBezTo>
                  <a:pt x="7548807" y="1190108"/>
                  <a:pt x="7548001" y="1194099"/>
                  <a:pt x="7547683" y="1198047"/>
                </a:cubicBezTo>
                <a:cubicBezTo>
                  <a:pt x="7563423" y="1192855"/>
                  <a:pt x="7547566" y="1230782"/>
                  <a:pt x="7560295" y="1219849"/>
                </a:cubicBezTo>
                <a:cubicBezTo>
                  <a:pt x="7561281" y="1240644"/>
                  <a:pt x="7573138" y="1224782"/>
                  <a:pt x="7561835" y="1249779"/>
                </a:cubicBezTo>
                <a:cubicBezTo>
                  <a:pt x="7574707" y="1282065"/>
                  <a:pt x="7569916" y="1332957"/>
                  <a:pt x="7589445" y="1358245"/>
                </a:cubicBezTo>
                <a:cubicBezTo>
                  <a:pt x="7581989" y="1355103"/>
                  <a:pt x="7576204" y="1368711"/>
                  <a:pt x="7579904" y="1378136"/>
                </a:cubicBezTo>
                <a:cubicBezTo>
                  <a:pt x="7550647" y="1367117"/>
                  <a:pt x="7606267" y="1415404"/>
                  <a:pt x="7586303" y="1423699"/>
                </a:cubicBezTo>
                <a:cubicBezTo>
                  <a:pt x="7604838" y="1424108"/>
                  <a:pt x="7636267" y="1466352"/>
                  <a:pt x="7621059" y="1486236"/>
                </a:cubicBezTo>
                <a:cubicBezTo>
                  <a:pt x="7624771" y="1516526"/>
                  <a:pt x="7640092" y="1537976"/>
                  <a:pt x="7633966" y="1569734"/>
                </a:cubicBezTo>
                <a:cubicBezTo>
                  <a:pt x="7636447" y="1570719"/>
                  <a:pt x="7638522" y="1572334"/>
                  <a:pt x="7640304" y="1574384"/>
                </a:cubicBezTo>
                <a:lnTo>
                  <a:pt x="7644628" y="1581242"/>
                </a:lnTo>
                <a:lnTo>
                  <a:pt x="7644313" y="1582567"/>
                </a:lnTo>
                <a:cubicBezTo>
                  <a:pt x="7644257" y="1587776"/>
                  <a:pt x="7645302" y="1590443"/>
                  <a:pt x="7646831" y="1591983"/>
                </a:cubicBezTo>
                <a:cubicBezTo>
                  <a:pt x="7647577" y="1592347"/>
                  <a:pt x="7648323" y="1592711"/>
                  <a:pt x="7649069" y="1593074"/>
                </a:cubicBezTo>
                <a:lnTo>
                  <a:pt x="7651326" y="1599230"/>
                </a:lnTo>
                <a:lnTo>
                  <a:pt x="7657195" y="1610539"/>
                </a:lnTo>
                <a:lnTo>
                  <a:pt x="7656957" y="1613422"/>
                </a:lnTo>
                <a:lnTo>
                  <a:pt x="7663730" y="1631673"/>
                </a:lnTo>
                <a:lnTo>
                  <a:pt x="7663189" y="1632289"/>
                </a:lnTo>
                <a:cubicBezTo>
                  <a:pt x="7662131" y="1634085"/>
                  <a:pt x="7661641" y="1636199"/>
                  <a:pt x="7662326" y="1639024"/>
                </a:cubicBezTo>
                <a:cubicBezTo>
                  <a:pt x="7651979" y="1640024"/>
                  <a:pt x="7659188" y="1642819"/>
                  <a:pt x="7662125" y="1651067"/>
                </a:cubicBezTo>
                <a:cubicBezTo>
                  <a:pt x="7646711" y="1654462"/>
                  <a:pt x="7660667" y="1674670"/>
                  <a:pt x="7653812" y="1683345"/>
                </a:cubicBezTo>
                <a:cubicBezTo>
                  <a:pt x="7656316" y="1689330"/>
                  <a:pt x="7658683" y="1695719"/>
                  <a:pt x="7660803" y="1702414"/>
                </a:cubicBezTo>
                <a:lnTo>
                  <a:pt x="7661867" y="1756201"/>
                </a:lnTo>
                <a:lnTo>
                  <a:pt x="7649453" y="1812530"/>
                </a:lnTo>
                <a:cubicBezTo>
                  <a:pt x="7649183" y="1833366"/>
                  <a:pt x="7644573" y="1851408"/>
                  <a:pt x="7647823" y="1869041"/>
                </a:cubicBezTo>
                <a:cubicBezTo>
                  <a:pt x="7644238" y="1876204"/>
                  <a:pt x="7642789" y="1882956"/>
                  <a:pt x="7648156" y="1889503"/>
                </a:cubicBezTo>
                <a:cubicBezTo>
                  <a:pt x="7646365" y="1908946"/>
                  <a:pt x="7638702" y="1913653"/>
                  <a:pt x="7644679" y="1925974"/>
                </a:cubicBezTo>
                <a:cubicBezTo>
                  <a:pt x="7632281" y="1936898"/>
                  <a:pt x="7637013" y="1937545"/>
                  <a:pt x="7640564" y="1942678"/>
                </a:cubicBezTo>
                <a:lnTo>
                  <a:pt x="7640816" y="1943410"/>
                </a:lnTo>
                <a:lnTo>
                  <a:pt x="7639044" y="1944904"/>
                </a:lnTo>
                <a:lnTo>
                  <a:pt x="7638223" y="1947993"/>
                </a:lnTo>
                <a:lnTo>
                  <a:pt x="7638752" y="1956430"/>
                </a:lnTo>
                <a:lnTo>
                  <a:pt x="7639407" y="1959603"/>
                </a:lnTo>
                <a:cubicBezTo>
                  <a:pt x="7639690" y="1961788"/>
                  <a:pt x="7639658" y="1963239"/>
                  <a:pt x="7639396" y="1964244"/>
                </a:cubicBezTo>
                <a:lnTo>
                  <a:pt x="7639249" y="1964361"/>
                </a:lnTo>
                <a:lnTo>
                  <a:pt x="7639521" y="1968708"/>
                </a:lnTo>
                <a:cubicBezTo>
                  <a:pt x="7640315" y="1976045"/>
                  <a:pt x="7641402" y="1983186"/>
                  <a:pt x="7642694" y="1989983"/>
                </a:cubicBezTo>
                <a:cubicBezTo>
                  <a:pt x="7634556" y="1995729"/>
                  <a:pt x="7644169" y="2020842"/>
                  <a:pt x="7628828" y="2018094"/>
                </a:cubicBezTo>
                <a:cubicBezTo>
                  <a:pt x="7630116" y="2027262"/>
                  <a:pt x="7636485" y="2032807"/>
                  <a:pt x="7626423" y="2029720"/>
                </a:cubicBezTo>
                <a:cubicBezTo>
                  <a:pt x="7626559" y="2032738"/>
                  <a:pt x="7625703" y="2034598"/>
                  <a:pt x="7624364" y="2035929"/>
                </a:cubicBezTo>
                <a:lnTo>
                  <a:pt x="7623733" y="2036314"/>
                </a:lnTo>
                <a:lnTo>
                  <a:pt x="7626847" y="2056711"/>
                </a:lnTo>
                <a:lnTo>
                  <a:pt x="7626090" y="2059419"/>
                </a:lnTo>
                <a:lnTo>
                  <a:pt x="7629618" y="2072712"/>
                </a:lnTo>
                <a:lnTo>
                  <a:pt x="7630641" y="2079581"/>
                </a:lnTo>
                <a:lnTo>
                  <a:pt x="7632577" y="2081522"/>
                </a:lnTo>
                <a:cubicBezTo>
                  <a:pt x="7633753" y="2083617"/>
                  <a:pt x="7634261" y="2086620"/>
                  <a:pt x="7633251" y="2091658"/>
                </a:cubicBezTo>
                <a:lnTo>
                  <a:pt x="7632707" y="2092825"/>
                </a:lnTo>
                <a:lnTo>
                  <a:pt x="7635575" y="2101184"/>
                </a:lnTo>
                <a:cubicBezTo>
                  <a:pt x="7636900" y="2103876"/>
                  <a:pt x="7638586" y="2106260"/>
                  <a:pt x="7640772" y="2108190"/>
                </a:cubicBezTo>
                <a:cubicBezTo>
                  <a:pt x="7629093" y="2136655"/>
                  <a:pt x="7639778" y="2163513"/>
                  <a:pt x="7637758" y="2194409"/>
                </a:cubicBezTo>
                <a:cubicBezTo>
                  <a:pt x="7619585" y="2207765"/>
                  <a:pt x="7641835" y="2261154"/>
                  <a:pt x="7659453" y="2268824"/>
                </a:cubicBezTo>
                <a:cubicBezTo>
                  <a:pt x="7644015" y="2268997"/>
                  <a:pt x="7665037" y="2307714"/>
                  <a:pt x="7665583" y="2317700"/>
                </a:cubicBezTo>
                <a:cubicBezTo>
                  <a:pt x="7665764" y="2321029"/>
                  <a:pt x="7663671" y="2321166"/>
                  <a:pt x="7657195" y="2315619"/>
                </a:cubicBezTo>
                <a:cubicBezTo>
                  <a:pt x="7658997" y="2326231"/>
                  <a:pt x="7650972" y="2337185"/>
                  <a:pt x="7644431" y="2331209"/>
                </a:cubicBezTo>
                <a:cubicBezTo>
                  <a:pt x="7658433" y="2363448"/>
                  <a:pt x="7644510" y="2411031"/>
                  <a:pt x="7650869" y="2447461"/>
                </a:cubicBezTo>
                <a:cubicBezTo>
                  <a:pt x="7635485" y="2467322"/>
                  <a:pt x="7649719" y="2456555"/>
                  <a:pt x="7646841" y="2477156"/>
                </a:cubicBezTo>
                <a:cubicBezTo>
                  <a:pt x="7661004" y="2471521"/>
                  <a:pt x="7638896" y="2502164"/>
                  <a:pt x="7654880" y="2503292"/>
                </a:cubicBezTo>
                <a:cubicBezTo>
                  <a:pt x="7653849" y="2507005"/>
                  <a:pt x="7652348" y="2510567"/>
                  <a:pt x="7650720" y="2514131"/>
                </a:cubicBezTo>
                <a:lnTo>
                  <a:pt x="7649876" y="2516003"/>
                </a:lnTo>
                <a:lnTo>
                  <a:pt x="7649263" y="2523483"/>
                </a:lnTo>
                <a:lnTo>
                  <a:pt x="7645633" y="2525592"/>
                </a:lnTo>
                <a:lnTo>
                  <a:pt x="7642233" y="2536851"/>
                </a:lnTo>
                <a:cubicBezTo>
                  <a:pt x="7641494" y="2541069"/>
                  <a:pt x="7641323" y="2545607"/>
                  <a:pt x="7642069" y="2550622"/>
                </a:cubicBezTo>
                <a:cubicBezTo>
                  <a:pt x="7648404" y="2562959"/>
                  <a:pt x="7640640" y="2582170"/>
                  <a:pt x="7641110" y="2599544"/>
                </a:cubicBezTo>
                <a:lnTo>
                  <a:pt x="7643071" y="2607523"/>
                </a:lnTo>
                <a:lnTo>
                  <a:pt x="7639801" y="2633566"/>
                </a:lnTo>
                <a:cubicBezTo>
                  <a:pt x="7639166" y="2640978"/>
                  <a:pt x="7638833" y="2648672"/>
                  <a:pt x="7639065" y="2656773"/>
                </a:cubicBezTo>
                <a:lnTo>
                  <a:pt x="7640624" y="2671810"/>
                </a:lnTo>
                <a:lnTo>
                  <a:pt x="7639332" y="2675751"/>
                </a:lnTo>
                <a:cubicBezTo>
                  <a:pt x="7639476" y="2682617"/>
                  <a:pt x="7644027" y="2691703"/>
                  <a:pt x="7638498" y="2690893"/>
                </a:cubicBezTo>
                <a:lnTo>
                  <a:pt x="7640415" y="2698606"/>
                </a:lnTo>
                <a:lnTo>
                  <a:pt x="7636002" y="2706218"/>
                </a:lnTo>
                <a:cubicBezTo>
                  <a:pt x="7634978" y="2707053"/>
                  <a:pt x="7633887" y="2707679"/>
                  <a:pt x="7632770" y="2708079"/>
                </a:cubicBezTo>
                <a:lnTo>
                  <a:pt x="7634220" y="2718854"/>
                </a:lnTo>
                <a:lnTo>
                  <a:pt x="7631061" y="2727688"/>
                </a:lnTo>
                <a:lnTo>
                  <a:pt x="7633127" y="2735389"/>
                </a:lnTo>
                <a:lnTo>
                  <a:pt x="7632661" y="2738584"/>
                </a:lnTo>
                <a:lnTo>
                  <a:pt x="7631098" y="2746529"/>
                </a:lnTo>
                <a:cubicBezTo>
                  <a:pt x="7630002" y="2750602"/>
                  <a:pt x="7628681" y="2755160"/>
                  <a:pt x="7627624" y="2760235"/>
                </a:cubicBezTo>
                <a:lnTo>
                  <a:pt x="7627140" y="2764511"/>
                </a:lnTo>
                <a:lnTo>
                  <a:pt x="7621827" y="2773820"/>
                </a:lnTo>
                <a:cubicBezTo>
                  <a:pt x="7617811" y="2780593"/>
                  <a:pt x="7615104" y="2785923"/>
                  <a:pt x="7617284" y="2791840"/>
                </a:cubicBezTo>
                <a:cubicBezTo>
                  <a:pt x="7612094" y="2801924"/>
                  <a:pt x="7597550" y="2808970"/>
                  <a:pt x="7601430" y="2823567"/>
                </a:cubicBezTo>
                <a:cubicBezTo>
                  <a:pt x="7594841" y="2819137"/>
                  <a:pt x="7600633" y="2839778"/>
                  <a:pt x="7593865" y="2842217"/>
                </a:cubicBezTo>
                <a:cubicBezTo>
                  <a:pt x="7588415" y="2843342"/>
                  <a:pt x="7588901" y="2849866"/>
                  <a:pt x="7586893" y="2854834"/>
                </a:cubicBezTo>
                <a:cubicBezTo>
                  <a:pt x="7581327" y="2858374"/>
                  <a:pt x="7576244" y="2883372"/>
                  <a:pt x="7577046" y="2892075"/>
                </a:cubicBezTo>
                <a:cubicBezTo>
                  <a:pt x="7582584" y="2916606"/>
                  <a:pt x="7560175" y="2936338"/>
                  <a:pt x="7564026" y="2955950"/>
                </a:cubicBezTo>
                <a:cubicBezTo>
                  <a:pt x="7563501" y="2961086"/>
                  <a:pt x="7562240" y="2965343"/>
                  <a:pt x="7560529" y="2969031"/>
                </a:cubicBezTo>
                <a:lnTo>
                  <a:pt x="7554631" y="2978222"/>
                </a:lnTo>
                <a:lnTo>
                  <a:pt x="7550747" y="2978564"/>
                </a:lnTo>
                <a:lnTo>
                  <a:pt x="7548359" y="2985429"/>
                </a:lnTo>
                <a:lnTo>
                  <a:pt x="7547120" y="2986826"/>
                </a:lnTo>
                <a:cubicBezTo>
                  <a:pt x="7544741" y="2989483"/>
                  <a:pt x="7542480" y="2992194"/>
                  <a:pt x="7540621" y="2995267"/>
                </a:cubicBezTo>
                <a:cubicBezTo>
                  <a:pt x="7555200" y="3003715"/>
                  <a:pt x="7527208" y="3022799"/>
                  <a:pt x="7541739" y="3023946"/>
                </a:cubicBezTo>
                <a:cubicBezTo>
                  <a:pt x="7534059" y="3042303"/>
                  <a:pt x="7549904" y="3038579"/>
                  <a:pt x="7530781" y="3050462"/>
                </a:cubicBezTo>
                <a:cubicBezTo>
                  <a:pt x="7527838" y="3088204"/>
                  <a:pt x="7503338" y="3127251"/>
                  <a:pt x="7508515" y="3164510"/>
                </a:cubicBezTo>
                <a:cubicBezTo>
                  <a:pt x="7503888" y="3155782"/>
                  <a:pt x="7493770" y="3162549"/>
                  <a:pt x="7492866" y="3173520"/>
                </a:cubicBezTo>
                <a:cubicBezTo>
                  <a:pt x="7474179" y="3140376"/>
                  <a:pt x="7498581" y="3226463"/>
                  <a:pt x="7479395" y="3217191"/>
                </a:cubicBezTo>
                <a:cubicBezTo>
                  <a:pt x="7493905" y="3232643"/>
                  <a:pt x="7501608" y="3293915"/>
                  <a:pt x="7481475" y="3298298"/>
                </a:cubicBezTo>
                <a:cubicBezTo>
                  <a:pt x="7472089" y="3326890"/>
                  <a:pt x="7475493" y="3357480"/>
                  <a:pt x="7457722" y="3379292"/>
                </a:cubicBezTo>
                <a:cubicBezTo>
                  <a:pt x="7459285" y="3382143"/>
                  <a:pt x="7460273" y="3385199"/>
                  <a:pt x="7460850" y="3388381"/>
                </a:cubicBezTo>
                <a:lnTo>
                  <a:pt x="7461482" y="3397694"/>
                </a:lnTo>
                <a:lnTo>
                  <a:pt x="7460695" y="3398556"/>
                </a:lnTo>
                <a:cubicBezTo>
                  <a:pt x="7458532" y="3402904"/>
                  <a:pt x="7458275" y="3406007"/>
                  <a:pt x="7458858" y="3408553"/>
                </a:cubicBezTo>
                <a:lnTo>
                  <a:pt x="7460185" y="3411299"/>
                </a:lnTo>
                <a:lnTo>
                  <a:pt x="7459468" y="3418333"/>
                </a:lnTo>
                <a:lnTo>
                  <a:pt x="7459515" y="3432662"/>
                </a:lnTo>
                <a:lnTo>
                  <a:pt x="7458154" y="3434902"/>
                </a:lnTo>
                <a:lnTo>
                  <a:pt x="7456091" y="3455825"/>
                </a:lnTo>
                <a:cubicBezTo>
                  <a:pt x="7455865" y="3455850"/>
                  <a:pt x="7455638" y="3455877"/>
                  <a:pt x="7455413" y="3455903"/>
                </a:cubicBezTo>
                <a:cubicBezTo>
                  <a:pt x="7453843" y="3456557"/>
                  <a:pt x="7452596" y="3457940"/>
                  <a:pt x="7451989" y="3460886"/>
                </a:cubicBezTo>
                <a:cubicBezTo>
                  <a:pt x="7443388" y="3453296"/>
                  <a:pt x="7447961" y="3461529"/>
                  <a:pt x="7446929" y="3470886"/>
                </a:cubicBezTo>
                <a:cubicBezTo>
                  <a:pt x="7433341" y="3461186"/>
                  <a:pt x="7436171" y="3489615"/>
                  <a:pt x="7427213" y="3491353"/>
                </a:cubicBezTo>
                <a:cubicBezTo>
                  <a:pt x="7426761" y="3498443"/>
                  <a:pt x="7426037" y="3505767"/>
                  <a:pt x="7424990" y="3513143"/>
                </a:cubicBezTo>
                <a:lnTo>
                  <a:pt x="7424186" y="3517424"/>
                </a:lnTo>
                <a:cubicBezTo>
                  <a:pt x="7424132" y="3517438"/>
                  <a:pt x="7424077" y="3517453"/>
                  <a:pt x="7424024" y="3517467"/>
                </a:cubicBezTo>
                <a:cubicBezTo>
                  <a:pt x="7423536" y="3518305"/>
                  <a:pt x="7423153" y="3519678"/>
                  <a:pt x="7422883" y="3521896"/>
                </a:cubicBezTo>
                <a:lnTo>
                  <a:pt x="7422723" y="3525229"/>
                </a:lnTo>
                <a:lnTo>
                  <a:pt x="7421163" y="3533534"/>
                </a:lnTo>
                <a:lnTo>
                  <a:pt x="7419650" y="3536108"/>
                </a:lnTo>
                <a:lnTo>
                  <a:pt x="7417640" y="3536718"/>
                </a:lnTo>
                <a:lnTo>
                  <a:pt x="7417697" y="3537534"/>
                </a:lnTo>
                <a:cubicBezTo>
                  <a:pt x="7419749" y="3544077"/>
                  <a:pt x="7423989" y="3546875"/>
                  <a:pt x="7409814" y="3551598"/>
                </a:cubicBezTo>
                <a:cubicBezTo>
                  <a:pt x="7412376" y="3566128"/>
                  <a:pt x="7404108" y="3567090"/>
                  <a:pt x="7397719" y="3584844"/>
                </a:cubicBezTo>
                <a:cubicBezTo>
                  <a:pt x="7401116" y="3593573"/>
                  <a:pt x="7398130" y="3599358"/>
                  <a:pt x="7393057" y="3604546"/>
                </a:cubicBezTo>
                <a:cubicBezTo>
                  <a:pt x="7391792" y="3622895"/>
                  <a:pt x="7383125" y="3638008"/>
                  <a:pt x="7377811" y="3657793"/>
                </a:cubicBezTo>
                <a:cubicBezTo>
                  <a:pt x="7379886" y="3680874"/>
                  <a:pt x="7366255" y="3689531"/>
                  <a:pt x="7360624" y="3710685"/>
                </a:cubicBezTo>
                <a:cubicBezTo>
                  <a:pt x="7367950" y="3731637"/>
                  <a:pt x="7347999" y="3723947"/>
                  <a:pt x="7341489" y="3734006"/>
                </a:cubicBezTo>
                <a:lnTo>
                  <a:pt x="7340478" y="3737028"/>
                </a:lnTo>
                <a:lnTo>
                  <a:pt x="7340489" y="3745476"/>
                </a:lnTo>
                <a:lnTo>
                  <a:pt x="7340950" y="3748687"/>
                </a:lnTo>
                <a:cubicBezTo>
                  <a:pt x="7341098" y="3750887"/>
                  <a:pt x="7340976" y="3752333"/>
                  <a:pt x="7340653" y="3753314"/>
                </a:cubicBezTo>
                <a:lnTo>
                  <a:pt x="7340500" y="3753419"/>
                </a:lnTo>
                <a:lnTo>
                  <a:pt x="7340506" y="3757774"/>
                </a:lnTo>
                <a:cubicBezTo>
                  <a:pt x="7340847" y="3765147"/>
                  <a:pt x="7341495" y="3772345"/>
                  <a:pt x="7342369" y="3779218"/>
                </a:cubicBezTo>
                <a:cubicBezTo>
                  <a:pt x="7333890" y="3784348"/>
                  <a:pt x="7341949" y="3810090"/>
                  <a:pt x="7326800" y="3806225"/>
                </a:cubicBezTo>
                <a:cubicBezTo>
                  <a:pt x="7327524" y="3815461"/>
                  <a:pt x="7333545" y="3821456"/>
                  <a:pt x="7323686" y="3817640"/>
                </a:cubicBezTo>
                <a:cubicBezTo>
                  <a:pt x="7323637" y="3820659"/>
                  <a:pt x="7322668" y="3822449"/>
                  <a:pt x="7321247" y="3823678"/>
                </a:cubicBezTo>
                <a:lnTo>
                  <a:pt x="7320595" y="3824018"/>
                </a:lnTo>
                <a:lnTo>
                  <a:pt x="7322453" y="3844579"/>
                </a:lnTo>
                <a:lnTo>
                  <a:pt x="7321532" y="3847225"/>
                </a:lnTo>
                <a:lnTo>
                  <a:pt x="7324238" y="3860736"/>
                </a:lnTo>
                <a:lnTo>
                  <a:pt x="7324840" y="3867658"/>
                </a:lnTo>
                <a:lnTo>
                  <a:pt x="7326655" y="3869733"/>
                </a:lnTo>
                <a:cubicBezTo>
                  <a:pt x="7327701" y="3871909"/>
                  <a:pt x="7328023" y="3874942"/>
                  <a:pt x="7326706" y="3879891"/>
                </a:cubicBezTo>
                <a:lnTo>
                  <a:pt x="7326093" y="3881013"/>
                </a:lnTo>
                <a:lnTo>
                  <a:pt x="7328442" y="3889558"/>
                </a:lnTo>
                <a:cubicBezTo>
                  <a:pt x="7329602" y="3892339"/>
                  <a:pt x="7331138" y="3894839"/>
                  <a:pt x="7333203" y="3896924"/>
                </a:cubicBezTo>
                <a:cubicBezTo>
                  <a:pt x="7319795" y="3924445"/>
                  <a:pt x="7328820" y="3952004"/>
                  <a:pt x="7324908" y="3982658"/>
                </a:cubicBezTo>
                <a:cubicBezTo>
                  <a:pt x="7325522" y="4017325"/>
                  <a:pt x="7327874" y="4041416"/>
                  <a:pt x="7327588" y="4064228"/>
                </a:cubicBezTo>
                <a:cubicBezTo>
                  <a:pt x="7328735" y="4074940"/>
                  <a:pt x="7329351" y="4153102"/>
                  <a:pt x="7323186" y="4146664"/>
                </a:cubicBezTo>
                <a:cubicBezTo>
                  <a:pt x="7335189" y="4179829"/>
                  <a:pt x="7318370" y="4199117"/>
                  <a:pt x="7322488" y="4235901"/>
                </a:cubicBezTo>
                <a:cubicBezTo>
                  <a:pt x="7305909" y="4254573"/>
                  <a:pt x="7320783" y="4244884"/>
                  <a:pt x="7316645" y="4265209"/>
                </a:cubicBezTo>
                <a:cubicBezTo>
                  <a:pt x="7331133" y="4260631"/>
                  <a:pt x="7307179" y="4289560"/>
                  <a:pt x="7323069" y="4291857"/>
                </a:cubicBezTo>
                <a:cubicBezTo>
                  <a:pt x="7321814" y="4295483"/>
                  <a:pt x="7320095" y="4298923"/>
                  <a:pt x="7318251" y="4302359"/>
                </a:cubicBezTo>
                <a:lnTo>
                  <a:pt x="7317295" y="4304161"/>
                </a:lnTo>
                <a:lnTo>
                  <a:pt x="7316223" y="4311573"/>
                </a:lnTo>
                <a:lnTo>
                  <a:pt x="7312469" y="4313411"/>
                </a:lnTo>
                <a:lnTo>
                  <a:pt x="7306447" y="4403491"/>
                </a:lnTo>
                <a:cubicBezTo>
                  <a:pt x="7308849" y="4411399"/>
                  <a:pt x="7308497" y="4436984"/>
                  <a:pt x="7303688" y="4442497"/>
                </a:cubicBezTo>
                <a:cubicBezTo>
                  <a:pt x="7302637" y="4447969"/>
                  <a:pt x="7304327" y="4453942"/>
                  <a:pt x="7299181" y="4457128"/>
                </a:cubicBezTo>
                <a:cubicBezTo>
                  <a:pt x="7296154" y="4469016"/>
                  <a:pt x="7289197" y="4496240"/>
                  <a:pt x="7285530" y="4513823"/>
                </a:cubicBezTo>
                <a:cubicBezTo>
                  <a:pt x="7288769" y="4518560"/>
                  <a:pt x="7287100" y="4524649"/>
                  <a:pt x="7284412" y="4532609"/>
                </a:cubicBezTo>
                <a:lnTo>
                  <a:pt x="7282601" y="4540125"/>
                </a:lnTo>
                <a:lnTo>
                  <a:pt x="7291785" y="4563650"/>
                </a:lnTo>
                <a:lnTo>
                  <a:pt x="7284191" y="4636427"/>
                </a:lnTo>
                <a:lnTo>
                  <a:pt x="7292797" y="4672055"/>
                </a:lnTo>
                <a:cubicBezTo>
                  <a:pt x="7294304" y="4686552"/>
                  <a:pt x="7294421" y="4700466"/>
                  <a:pt x="7295425" y="4713953"/>
                </a:cubicBezTo>
                <a:cubicBezTo>
                  <a:pt x="7296104" y="4744441"/>
                  <a:pt x="7280378" y="4723911"/>
                  <a:pt x="7292574" y="4762180"/>
                </a:cubicBezTo>
                <a:cubicBezTo>
                  <a:pt x="7286719" y="4766152"/>
                  <a:pt x="7286266" y="4770971"/>
                  <a:pt x="7288689" y="4779168"/>
                </a:cubicBezTo>
                <a:cubicBezTo>
                  <a:pt x="7288592" y="4793971"/>
                  <a:pt x="7274303" y="4792486"/>
                  <a:pt x="7282355" y="4807636"/>
                </a:cubicBezTo>
                <a:cubicBezTo>
                  <a:pt x="7278556" y="4806204"/>
                  <a:pt x="7277539" y="4813202"/>
                  <a:pt x="7276505" y="4819678"/>
                </a:cubicBezTo>
                <a:lnTo>
                  <a:pt x="7273752" y="4823797"/>
                </a:lnTo>
                <a:lnTo>
                  <a:pt x="7283683" y="4847794"/>
                </a:lnTo>
                <a:cubicBezTo>
                  <a:pt x="7296832" y="4890479"/>
                  <a:pt x="7302379" y="4941877"/>
                  <a:pt x="7311552" y="4978326"/>
                </a:cubicBezTo>
                <a:cubicBezTo>
                  <a:pt x="7284161" y="4998846"/>
                  <a:pt x="7309660" y="4989594"/>
                  <a:pt x="7304880" y="5015024"/>
                </a:cubicBezTo>
                <a:cubicBezTo>
                  <a:pt x="7330355" y="5012307"/>
                  <a:pt x="7291032" y="5044485"/>
                  <a:pt x="7319932" y="5050993"/>
                </a:cubicBezTo>
                <a:cubicBezTo>
                  <a:pt x="7318148" y="5055414"/>
                  <a:pt x="7315506" y="5059493"/>
                  <a:pt x="7312641" y="5063537"/>
                </a:cubicBezTo>
                <a:lnTo>
                  <a:pt x="7311153" y="5065661"/>
                </a:lnTo>
                <a:lnTo>
                  <a:pt x="7310197" y="5075032"/>
                </a:lnTo>
                <a:lnTo>
                  <a:pt x="7303683" y="5076576"/>
                </a:lnTo>
                <a:lnTo>
                  <a:pt x="7297768" y="5089898"/>
                </a:lnTo>
                <a:cubicBezTo>
                  <a:pt x="7296519" y="5095057"/>
                  <a:pt x="7296302" y="5100805"/>
                  <a:pt x="7297750" y="5107454"/>
                </a:cubicBezTo>
                <a:cubicBezTo>
                  <a:pt x="7309447" y="5125240"/>
                  <a:pt x="7295812" y="5147341"/>
                  <a:pt x="7297014" y="5169708"/>
                </a:cubicBezTo>
                <a:lnTo>
                  <a:pt x="7300719" y="5180532"/>
                </a:lnTo>
                <a:lnTo>
                  <a:pt x="7295705" y="5210620"/>
                </a:lnTo>
                <a:lnTo>
                  <a:pt x="7296901" y="5212749"/>
                </a:lnTo>
                <a:cubicBezTo>
                  <a:pt x="7296704" y="5218058"/>
                  <a:pt x="7294377" y="5228574"/>
                  <a:pt x="7294523" y="5242477"/>
                </a:cubicBezTo>
                <a:lnTo>
                  <a:pt x="7297776" y="5296160"/>
                </a:lnTo>
                <a:lnTo>
                  <a:pt x="7289955" y="5304499"/>
                </a:lnTo>
                <a:lnTo>
                  <a:pt x="7286210" y="5305374"/>
                </a:lnTo>
                <a:lnTo>
                  <a:pt x="7286995" y="5320092"/>
                </a:lnTo>
                <a:lnTo>
                  <a:pt x="7281550" y="5330613"/>
                </a:lnTo>
                <a:lnTo>
                  <a:pt x="7285354" y="5340890"/>
                </a:lnTo>
                <a:lnTo>
                  <a:pt x="7281914" y="5354491"/>
                </a:lnTo>
                <a:cubicBezTo>
                  <a:pt x="7280017" y="5359352"/>
                  <a:pt x="7277725" y="5364763"/>
                  <a:pt x="7275918" y="5370917"/>
                </a:cubicBezTo>
                <a:lnTo>
                  <a:pt x="7267655" y="5384350"/>
                </a:lnTo>
                <a:lnTo>
                  <a:pt x="7263791" y="5406610"/>
                </a:lnTo>
                <a:cubicBezTo>
                  <a:pt x="7260956" y="5423841"/>
                  <a:pt x="7257650" y="5440271"/>
                  <a:pt x="7251522" y="5456222"/>
                </a:cubicBezTo>
                <a:cubicBezTo>
                  <a:pt x="7253699" y="5469913"/>
                  <a:pt x="7252931" y="5482529"/>
                  <a:pt x="7242311" y="5493751"/>
                </a:cubicBezTo>
                <a:cubicBezTo>
                  <a:pt x="7236636" y="5529727"/>
                  <a:pt x="7245809" y="5539513"/>
                  <a:pt x="7231835" y="5561252"/>
                </a:cubicBezTo>
                <a:cubicBezTo>
                  <a:pt x="7236311" y="5568555"/>
                  <a:pt x="7238499" y="5573475"/>
                  <a:pt x="7239152" y="5577121"/>
                </a:cubicBezTo>
                <a:cubicBezTo>
                  <a:pt x="7241111" y="5588065"/>
                  <a:pt x="7229268" y="5587525"/>
                  <a:pt x="7224043" y="5605355"/>
                </a:cubicBezTo>
                <a:cubicBezTo>
                  <a:pt x="7216774" y="5624244"/>
                  <a:pt x="7213225" y="5590845"/>
                  <a:pt x="7209229" y="5609118"/>
                </a:cubicBezTo>
                <a:cubicBezTo>
                  <a:pt x="7212098" y="5628346"/>
                  <a:pt x="7194168" y="5628785"/>
                  <a:pt x="7198222" y="5648700"/>
                </a:cubicBezTo>
                <a:cubicBezTo>
                  <a:pt x="7212577" y="5642705"/>
                  <a:pt x="7189541" y="5689259"/>
                  <a:pt x="7201221" y="5689771"/>
                </a:cubicBezTo>
                <a:cubicBezTo>
                  <a:pt x="7181618" y="5708428"/>
                  <a:pt x="7201258" y="5715573"/>
                  <a:pt x="7192555" y="5739098"/>
                </a:cubicBezTo>
                <a:cubicBezTo>
                  <a:pt x="7184486" y="5750478"/>
                  <a:pt x="7182208" y="5758416"/>
                  <a:pt x="7187522" y="5768603"/>
                </a:cubicBezTo>
                <a:cubicBezTo>
                  <a:pt x="7148692" y="5821144"/>
                  <a:pt x="7181577" y="5799065"/>
                  <a:pt x="7162500" y="5846928"/>
                </a:cubicBezTo>
                <a:lnTo>
                  <a:pt x="7160827" y="5850799"/>
                </a:lnTo>
                <a:lnTo>
                  <a:pt x="7163312" y="5866636"/>
                </a:lnTo>
                <a:cubicBezTo>
                  <a:pt x="7163884" y="5867070"/>
                  <a:pt x="7164455" y="5867505"/>
                  <a:pt x="7165029" y="5867939"/>
                </a:cubicBezTo>
                <a:lnTo>
                  <a:pt x="7142501" y="5914339"/>
                </a:lnTo>
                <a:lnTo>
                  <a:pt x="7143151" y="5921221"/>
                </a:lnTo>
                <a:lnTo>
                  <a:pt x="7123808" y="5950546"/>
                </a:lnTo>
                <a:lnTo>
                  <a:pt x="7116299" y="5966186"/>
                </a:lnTo>
                <a:lnTo>
                  <a:pt x="7106117" y="5983669"/>
                </a:lnTo>
                <a:lnTo>
                  <a:pt x="7109622" y="5995569"/>
                </a:lnTo>
                <a:cubicBezTo>
                  <a:pt x="7114727" y="6023526"/>
                  <a:pt x="7092983" y="6067450"/>
                  <a:pt x="7116605" y="6077139"/>
                </a:cubicBezTo>
                <a:cubicBezTo>
                  <a:pt x="7102148" y="6089933"/>
                  <a:pt x="7125501" y="6101908"/>
                  <a:pt x="7127573" y="6115892"/>
                </a:cubicBezTo>
                <a:cubicBezTo>
                  <a:pt x="7118381" y="6127056"/>
                  <a:pt x="7126331" y="6132595"/>
                  <a:pt x="7128098" y="6142737"/>
                </a:cubicBezTo>
                <a:cubicBezTo>
                  <a:pt x="7122429" y="6147329"/>
                  <a:pt x="7122724" y="6155912"/>
                  <a:pt x="7129375" y="6158833"/>
                </a:cubicBezTo>
                <a:cubicBezTo>
                  <a:pt x="7144709" y="6154689"/>
                  <a:pt x="7137060" y="6184499"/>
                  <a:pt x="7147635" y="6186714"/>
                </a:cubicBezTo>
                <a:cubicBezTo>
                  <a:pt x="7149842" y="6204016"/>
                  <a:pt x="7136414" y="6279145"/>
                  <a:pt x="7153343" y="6291871"/>
                </a:cubicBezTo>
                <a:cubicBezTo>
                  <a:pt x="7161381" y="6326852"/>
                  <a:pt x="7134450" y="6377408"/>
                  <a:pt x="7134923" y="6392273"/>
                </a:cubicBezTo>
                <a:cubicBezTo>
                  <a:pt x="7103997" y="6407024"/>
                  <a:pt x="7185503" y="6478818"/>
                  <a:pt x="7187236" y="6541940"/>
                </a:cubicBezTo>
                <a:cubicBezTo>
                  <a:pt x="7184250" y="6550446"/>
                  <a:pt x="7184290" y="6554993"/>
                  <a:pt x="7191340" y="6557275"/>
                </a:cubicBezTo>
                <a:cubicBezTo>
                  <a:pt x="7195412" y="6573685"/>
                  <a:pt x="7202070" y="6606060"/>
                  <a:pt x="7211670" y="6640404"/>
                </a:cubicBezTo>
                <a:cubicBezTo>
                  <a:pt x="7219591" y="6666216"/>
                  <a:pt x="7212698" y="6793331"/>
                  <a:pt x="7221085" y="6827708"/>
                </a:cubicBezTo>
                <a:lnTo>
                  <a:pt x="7227698" y="6857999"/>
                </a:lnTo>
                <a:lnTo>
                  <a:pt x="0" y="685799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092311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0cb1e24-a0e2-4a4c-9340-733297c9cd7c}" enabled="1" method="Privileged" siteId="{db1e96a8-a3da-442a-930b-235cac24cd5c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61</TotalTime>
  <Words>322</Words>
  <Application>Microsoft Office PowerPoint</Application>
  <PresentationFormat>Widescreen</PresentationFormat>
  <Paragraphs>32</Paragraphs>
  <Slides>8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haroni</vt:lpstr>
      <vt:lpstr>Aptos</vt:lpstr>
      <vt:lpstr>Aptos Black</vt:lpstr>
      <vt:lpstr>Aptos Display</vt:lpstr>
      <vt:lpstr>Arial</vt:lpstr>
      <vt:lpstr>Calibri</vt:lpstr>
      <vt:lpstr>Fairwater Script</vt:lpstr>
      <vt:lpstr>Gill Sans MT</vt:lpstr>
      <vt:lpstr>Gallery</vt:lpstr>
      <vt:lpstr>Office Theme</vt:lpstr>
      <vt:lpstr>think-cell Slide</vt:lpstr>
      <vt:lpstr>Chaitanya CaritamritA distribution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itanya Caritamrit distribution</dc:title>
  <dc:creator>Kumari, Nidhi SSSCCH-PTS/TSW</dc:creator>
  <cp:lastModifiedBy>Rambhadra das</cp:lastModifiedBy>
  <cp:revision>7</cp:revision>
  <dcterms:created xsi:type="dcterms:W3CDTF">2024-03-02T01:22:03Z</dcterms:created>
  <dcterms:modified xsi:type="dcterms:W3CDTF">2024-03-02T04:40:43Z</dcterms:modified>
</cp:coreProperties>
</file>